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14"/>
  </p:notesMasterIdLst>
  <p:handoutMasterIdLst>
    <p:handoutMasterId r:id="rId15"/>
  </p:handoutMasterIdLst>
  <p:sldIdLst>
    <p:sldId id="2147471619" r:id="rId6"/>
    <p:sldId id="2147471623" r:id="rId7"/>
    <p:sldId id="2147471625" r:id="rId8"/>
    <p:sldId id="2147471627" r:id="rId9"/>
    <p:sldId id="2147471624" r:id="rId10"/>
    <p:sldId id="2147471620" r:id="rId11"/>
    <p:sldId id="2147471622" r:id="rId12"/>
    <p:sldId id="2147471621" r:id="rId13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5269195-3FC2-8746-9907-2531F9FA2975}">
          <p14:sldIdLst>
            <p14:sldId id="2147471619"/>
            <p14:sldId id="2147471623"/>
            <p14:sldId id="2147471625"/>
            <p14:sldId id="2147471627"/>
            <p14:sldId id="2147471624"/>
            <p14:sldId id="2147471620"/>
            <p14:sldId id="2147471622"/>
            <p14:sldId id="214747162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E0"/>
    <a:srgbClr val="FFFFFF"/>
    <a:srgbClr val="FAFAFA"/>
    <a:srgbClr val="00A846"/>
    <a:srgbClr val="3DC353"/>
    <a:srgbClr val="FFE181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1" autoAdjust="0"/>
    <p:restoredTop sz="96301" autoAdjust="0"/>
  </p:normalViewPr>
  <p:slideViewPr>
    <p:cSldViewPr snapToGrid="0">
      <p:cViewPr>
        <p:scale>
          <a:sx n="75" d="100"/>
          <a:sy n="75" d="100"/>
        </p:scale>
        <p:origin x="692" y="-404"/>
      </p:cViewPr>
      <p:guideLst>
        <p:guide orient="horz" pos="2160"/>
        <p:guide pos="3840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5808" y="17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bhakaran, Praveen (CCI-Atlanta)" userId="7d888ac5-300c-4679-82d5-157e6386ea4a" providerId="ADAL" clId="{3B3508EF-EC6E-5347-AEB9-11B3ED16EFC9}"/>
    <pc:docChg chg="custSel delSld modSld delSection modSection">
      <pc:chgData name="Prabhakaran, Praveen (CCI-Atlanta)" userId="7d888ac5-300c-4679-82d5-157e6386ea4a" providerId="ADAL" clId="{3B3508EF-EC6E-5347-AEB9-11B3ED16EFC9}" dt="2024-08-07T21:21:13.031" v="15" actId="20577"/>
      <pc:docMkLst>
        <pc:docMk/>
      </pc:docMkLst>
      <pc:sldChg chg="delSp del mod">
        <pc:chgData name="Prabhakaran, Praveen (CCI-Atlanta)" userId="7d888ac5-300c-4679-82d5-157e6386ea4a" providerId="ADAL" clId="{3B3508EF-EC6E-5347-AEB9-11B3ED16EFC9}" dt="2024-08-07T21:20:29.717" v="5" actId="2696"/>
        <pc:sldMkLst>
          <pc:docMk/>
          <pc:sldMk cId="3255402634" sldId="2147471615"/>
        </pc:sldMkLst>
        <pc:spChg chg="del">
          <ac:chgData name="Prabhakaran, Praveen (CCI-Atlanta)" userId="7d888ac5-300c-4679-82d5-157e6386ea4a" providerId="ADAL" clId="{3B3508EF-EC6E-5347-AEB9-11B3ED16EFC9}" dt="2024-08-07T21:20:17.425" v="4" actId="478"/>
          <ac:spMkLst>
            <pc:docMk/>
            <pc:sldMk cId="3255402634" sldId="2147471615"/>
            <ac:spMk id="9" creationId="{BAE56A41-B89A-60E4-7FC0-F41D3E56C582}"/>
          </ac:spMkLst>
        </pc:spChg>
      </pc:sldChg>
      <pc:sldChg chg="modSp mod">
        <pc:chgData name="Prabhakaran, Praveen (CCI-Atlanta)" userId="7d888ac5-300c-4679-82d5-157e6386ea4a" providerId="ADAL" clId="{3B3508EF-EC6E-5347-AEB9-11B3ED16EFC9}" dt="2024-08-07T21:21:13.031" v="15" actId="20577"/>
        <pc:sldMkLst>
          <pc:docMk/>
          <pc:sldMk cId="4031652088" sldId="2147471619"/>
        </pc:sldMkLst>
        <pc:spChg chg="mod">
          <ac:chgData name="Prabhakaran, Praveen (CCI-Atlanta)" userId="7d888ac5-300c-4679-82d5-157e6386ea4a" providerId="ADAL" clId="{3B3508EF-EC6E-5347-AEB9-11B3ED16EFC9}" dt="2024-08-07T21:21:13.031" v="15" actId="20577"/>
          <ac:spMkLst>
            <pc:docMk/>
            <pc:sldMk cId="4031652088" sldId="2147471619"/>
            <ac:spMk id="14" creationId="{435D6244-2280-47DB-9006-77A98FCF90CC}"/>
          </ac:spMkLst>
        </pc:spChg>
      </pc:sldChg>
      <pc:sldChg chg="modSp mod">
        <pc:chgData name="Prabhakaran, Praveen (CCI-Atlanta)" userId="7d888ac5-300c-4679-82d5-157e6386ea4a" providerId="ADAL" clId="{3B3508EF-EC6E-5347-AEB9-11B3ED16EFC9}" dt="2024-08-06T15:21:50.251" v="3" actId="1076"/>
        <pc:sldMkLst>
          <pc:docMk/>
          <pc:sldMk cId="2557899830" sldId="2147471620"/>
        </pc:sldMkLst>
        <pc:spChg chg="mod">
          <ac:chgData name="Prabhakaran, Praveen (CCI-Atlanta)" userId="7d888ac5-300c-4679-82d5-157e6386ea4a" providerId="ADAL" clId="{3B3508EF-EC6E-5347-AEB9-11B3ED16EFC9}" dt="2024-08-06T15:21:42.884" v="1" actId="14100"/>
          <ac:spMkLst>
            <pc:docMk/>
            <pc:sldMk cId="2557899830" sldId="2147471620"/>
            <ac:spMk id="2" creationId="{5FCD20BF-6937-C158-87D5-D8164B05D636}"/>
          </ac:spMkLst>
        </pc:spChg>
        <pc:picChg chg="mod">
          <ac:chgData name="Prabhakaran, Praveen (CCI-Atlanta)" userId="7d888ac5-300c-4679-82d5-157e6386ea4a" providerId="ADAL" clId="{3B3508EF-EC6E-5347-AEB9-11B3ED16EFC9}" dt="2024-08-06T15:21:50.251" v="3" actId="1076"/>
          <ac:picMkLst>
            <pc:docMk/>
            <pc:sldMk cId="2557899830" sldId="2147471620"/>
            <ac:picMk id="11" creationId="{E34ABF21-CF21-7747-FE27-5A295126B2D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08EB1D-663C-BC43-A1EC-0AD01DE163C2}" type="doc">
      <dgm:prSet loTypeId="urn:microsoft.com/office/officeart/2005/8/layout/hierarchy6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6103EAB-26CF-D44C-8126-2F5E71FC3A78}">
      <dgm:prSet phldrT="[Text]"/>
      <dgm:spPr/>
      <dgm:t>
        <a:bodyPr/>
        <a:lstStyle/>
        <a:p>
          <a:r>
            <a:rPr lang="en-US" dirty="0"/>
            <a:t>Eric Pace</a:t>
          </a:r>
        </a:p>
        <a:p>
          <a:r>
            <a:rPr lang="en-US" dirty="0"/>
            <a:t>(Digital)</a:t>
          </a:r>
        </a:p>
      </dgm:t>
    </dgm:pt>
    <dgm:pt modelId="{50FA72D1-4AB6-9F46-9862-8863E6186354}" type="parTrans" cxnId="{079B927F-6927-3C45-B3BA-CDCE32F4389C}">
      <dgm:prSet/>
      <dgm:spPr/>
      <dgm:t>
        <a:bodyPr/>
        <a:lstStyle/>
        <a:p>
          <a:endParaRPr lang="en-US"/>
        </a:p>
      </dgm:t>
    </dgm:pt>
    <dgm:pt modelId="{69266B03-B094-7C48-9FEB-51EF7B1DC43A}" type="sibTrans" cxnId="{079B927F-6927-3C45-B3BA-CDCE32F4389C}">
      <dgm:prSet/>
      <dgm:spPr/>
      <dgm:t>
        <a:bodyPr/>
        <a:lstStyle/>
        <a:p>
          <a:endParaRPr lang="en-US"/>
        </a:p>
      </dgm:t>
    </dgm:pt>
    <dgm:pt modelId="{F66BB8F9-0B18-1C4D-833D-07C0B4947FC8}" type="asst">
      <dgm:prSet phldrT="[Text]"/>
      <dgm:spPr/>
      <dgm:t>
        <a:bodyPr/>
        <a:lstStyle/>
        <a:p>
          <a:r>
            <a:rPr lang="en-US" dirty="0"/>
            <a:t>Matt Earnest</a:t>
          </a:r>
        </a:p>
      </dgm:t>
    </dgm:pt>
    <dgm:pt modelId="{7ADEA12A-07F5-154F-B92A-F6724ED5238E}" type="parTrans" cxnId="{C2E8A148-23CB-CA48-8B45-47F84CE70344}">
      <dgm:prSet/>
      <dgm:spPr/>
      <dgm:t>
        <a:bodyPr/>
        <a:lstStyle/>
        <a:p>
          <a:endParaRPr lang="en-US"/>
        </a:p>
      </dgm:t>
    </dgm:pt>
    <dgm:pt modelId="{42D6372D-348A-0943-B7C9-0B52264E2BB8}" type="sibTrans" cxnId="{C2E8A148-23CB-CA48-8B45-47F84CE70344}">
      <dgm:prSet/>
      <dgm:spPr/>
      <dgm:t>
        <a:bodyPr/>
        <a:lstStyle/>
        <a:p>
          <a:endParaRPr lang="en-US"/>
        </a:p>
      </dgm:t>
    </dgm:pt>
    <dgm:pt modelId="{4FE94EC0-56A0-454C-8D9C-E411C0B7FF83}">
      <dgm:prSet phldrT="[Text]"/>
      <dgm:spPr/>
      <dgm:t>
        <a:bodyPr/>
        <a:lstStyle/>
        <a:p>
          <a:r>
            <a:rPr lang="en-US" dirty="0"/>
            <a:t>Elliot Schwartz</a:t>
          </a:r>
        </a:p>
      </dgm:t>
    </dgm:pt>
    <dgm:pt modelId="{766FDED9-3B72-CD45-AEA2-706B587F2A8A}" type="parTrans" cxnId="{77DE4F68-9379-E342-B8A2-3ABCE09A3E84}">
      <dgm:prSet/>
      <dgm:spPr/>
      <dgm:t>
        <a:bodyPr/>
        <a:lstStyle/>
        <a:p>
          <a:endParaRPr lang="en-US"/>
        </a:p>
      </dgm:t>
    </dgm:pt>
    <dgm:pt modelId="{25D655EA-D2A4-7B4D-837B-67EA474EE1B0}" type="sibTrans" cxnId="{77DE4F68-9379-E342-B8A2-3ABCE09A3E84}">
      <dgm:prSet/>
      <dgm:spPr/>
      <dgm:t>
        <a:bodyPr/>
        <a:lstStyle/>
        <a:p>
          <a:endParaRPr lang="en-US"/>
        </a:p>
      </dgm:t>
    </dgm:pt>
    <dgm:pt modelId="{D8071BA8-0FF4-4E4E-89E6-93ECD1815730}">
      <dgm:prSet phldrT="[Text]"/>
      <dgm:spPr/>
      <dgm:t>
        <a:bodyPr/>
        <a:lstStyle/>
        <a:p>
          <a:r>
            <a:rPr lang="en-US" dirty="0"/>
            <a:t>AI &amp; Analytics</a:t>
          </a:r>
        </a:p>
      </dgm:t>
    </dgm:pt>
    <dgm:pt modelId="{83881F87-4F38-1440-9FDD-C8009F9D938C}" type="parTrans" cxnId="{8DEB1D2D-31F2-7F4F-BCCD-112AB87BDA8A}">
      <dgm:prSet/>
      <dgm:spPr/>
      <dgm:t>
        <a:bodyPr/>
        <a:lstStyle/>
        <a:p>
          <a:endParaRPr lang="en-US"/>
        </a:p>
      </dgm:t>
    </dgm:pt>
    <dgm:pt modelId="{90C7D004-DD38-194D-BB7E-9566A838CFF6}" type="sibTrans" cxnId="{8DEB1D2D-31F2-7F4F-BCCD-112AB87BDA8A}">
      <dgm:prSet/>
      <dgm:spPr/>
      <dgm:t>
        <a:bodyPr/>
        <a:lstStyle/>
        <a:p>
          <a:endParaRPr lang="en-US"/>
        </a:p>
      </dgm:t>
    </dgm:pt>
    <dgm:pt modelId="{5CA05CD6-06A5-944F-B2A8-95749E415179}">
      <dgm:prSet phldrT="[Text]"/>
      <dgm:spPr/>
      <dgm:t>
        <a:bodyPr/>
        <a:lstStyle/>
        <a:p>
          <a:r>
            <a:rPr lang="en-US" dirty="0"/>
            <a:t>Richard Brown</a:t>
          </a:r>
        </a:p>
      </dgm:t>
    </dgm:pt>
    <dgm:pt modelId="{47B594E8-4BDB-E84F-846E-5798A6D6F15F}" type="parTrans" cxnId="{4B802837-39FC-2948-86A5-1FB4796C1854}">
      <dgm:prSet/>
      <dgm:spPr/>
      <dgm:t>
        <a:bodyPr/>
        <a:lstStyle/>
        <a:p>
          <a:endParaRPr lang="en-US"/>
        </a:p>
      </dgm:t>
    </dgm:pt>
    <dgm:pt modelId="{B28E542E-CBFC-0849-BC13-9CADDC42968B}" type="sibTrans" cxnId="{4B802837-39FC-2948-86A5-1FB4796C1854}">
      <dgm:prSet/>
      <dgm:spPr/>
      <dgm:t>
        <a:bodyPr/>
        <a:lstStyle/>
        <a:p>
          <a:endParaRPr lang="en-US"/>
        </a:p>
      </dgm:t>
    </dgm:pt>
    <dgm:pt modelId="{944F6235-C062-F149-867C-1430AE1193E4}">
      <dgm:prSet phldrT="[Text]"/>
      <dgm:spPr/>
      <dgm:t>
        <a:bodyPr/>
        <a:lstStyle/>
        <a:p>
          <a:r>
            <a:rPr lang="en-US" dirty="0" err="1"/>
            <a:t>eClerx</a:t>
          </a:r>
          <a:endParaRPr lang="en-US" dirty="0"/>
        </a:p>
      </dgm:t>
    </dgm:pt>
    <dgm:pt modelId="{C0B632DA-1CE9-084E-B565-E64B7254064E}" type="parTrans" cxnId="{8EC8BC42-8DC9-EC41-9443-DB187090C26E}">
      <dgm:prSet/>
      <dgm:spPr/>
      <dgm:t>
        <a:bodyPr/>
        <a:lstStyle/>
        <a:p>
          <a:endParaRPr lang="en-US"/>
        </a:p>
      </dgm:t>
    </dgm:pt>
    <dgm:pt modelId="{1E148030-DF34-A646-AD18-D467644A3C36}" type="sibTrans" cxnId="{8EC8BC42-8DC9-EC41-9443-DB187090C26E}">
      <dgm:prSet/>
      <dgm:spPr/>
      <dgm:t>
        <a:bodyPr/>
        <a:lstStyle/>
        <a:p>
          <a:endParaRPr lang="en-US"/>
        </a:p>
      </dgm:t>
    </dgm:pt>
    <dgm:pt modelId="{F03209A1-D97E-0641-BA28-BD431C608B00}">
      <dgm:prSet phldrT="[Text]"/>
      <dgm:spPr/>
      <dgm:t>
        <a:bodyPr/>
        <a:lstStyle/>
        <a:p>
          <a:r>
            <a:rPr lang="en-US" dirty="0"/>
            <a:t>Praveen</a:t>
          </a:r>
        </a:p>
      </dgm:t>
    </dgm:pt>
    <dgm:pt modelId="{567A04D0-ED81-B648-B4E8-6493EF3441F3}" type="parTrans" cxnId="{216D438C-EF07-5744-978C-E688A43241BA}">
      <dgm:prSet/>
      <dgm:spPr/>
      <dgm:t>
        <a:bodyPr/>
        <a:lstStyle/>
        <a:p>
          <a:endParaRPr lang="en-US"/>
        </a:p>
      </dgm:t>
    </dgm:pt>
    <dgm:pt modelId="{B2CF2032-A6DD-574A-993E-2FFF54B662D3}" type="sibTrans" cxnId="{216D438C-EF07-5744-978C-E688A43241BA}">
      <dgm:prSet/>
      <dgm:spPr/>
      <dgm:t>
        <a:bodyPr/>
        <a:lstStyle/>
        <a:p>
          <a:endParaRPr lang="en-US"/>
        </a:p>
      </dgm:t>
    </dgm:pt>
    <dgm:pt modelId="{3B0225DE-92D8-A947-9749-EF56569D73A4}" type="pres">
      <dgm:prSet presAssocID="{1108EB1D-663C-BC43-A1EC-0AD01DE163C2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A3C48AE-B7D2-AD47-AC52-60B373A31A1D}" type="pres">
      <dgm:prSet presAssocID="{1108EB1D-663C-BC43-A1EC-0AD01DE163C2}" presName="hierFlow" presStyleCnt="0"/>
      <dgm:spPr/>
    </dgm:pt>
    <dgm:pt modelId="{CC0D37E0-E7A2-6640-9AD8-1ED8C2972752}" type="pres">
      <dgm:prSet presAssocID="{1108EB1D-663C-BC43-A1EC-0AD01DE163C2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3E0F04C3-A29C-4949-A6B2-A781A4B799AB}" type="pres">
      <dgm:prSet presAssocID="{46103EAB-26CF-D44C-8126-2F5E71FC3A78}" presName="Name14" presStyleCnt="0"/>
      <dgm:spPr/>
    </dgm:pt>
    <dgm:pt modelId="{10D0E644-1691-E141-B082-FE9D3B157799}" type="pres">
      <dgm:prSet presAssocID="{46103EAB-26CF-D44C-8126-2F5E71FC3A78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B913789-21BB-2740-BDAD-FCEE45B99A84}" type="pres">
      <dgm:prSet presAssocID="{46103EAB-26CF-D44C-8126-2F5E71FC3A78}" presName="hierChild2" presStyleCnt="0"/>
      <dgm:spPr/>
    </dgm:pt>
    <dgm:pt modelId="{C79AF749-C852-EF41-9DED-8C79ECB1A4C0}" type="pres">
      <dgm:prSet presAssocID="{7ADEA12A-07F5-154F-B92A-F6724ED5238E}" presName="Name19" presStyleLbl="parChTrans1D2" presStyleIdx="0" presStyleCnt="2"/>
      <dgm:spPr/>
      <dgm:t>
        <a:bodyPr/>
        <a:lstStyle/>
        <a:p>
          <a:endParaRPr lang="en-US"/>
        </a:p>
      </dgm:t>
    </dgm:pt>
    <dgm:pt modelId="{BE06A375-5FA4-4245-AB3D-61283ED2CC1F}" type="pres">
      <dgm:prSet presAssocID="{F66BB8F9-0B18-1C4D-833D-07C0B4947FC8}" presName="Name21" presStyleCnt="0"/>
      <dgm:spPr/>
    </dgm:pt>
    <dgm:pt modelId="{82468639-F2CE-8649-B088-CE0EA362EE85}" type="pres">
      <dgm:prSet presAssocID="{F66BB8F9-0B18-1C4D-833D-07C0B4947FC8}" presName="level2Shape" presStyleLbl="asst1" presStyleIdx="0" presStyleCnt="1"/>
      <dgm:spPr/>
      <dgm:t>
        <a:bodyPr/>
        <a:lstStyle/>
        <a:p>
          <a:endParaRPr lang="en-US"/>
        </a:p>
      </dgm:t>
    </dgm:pt>
    <dgm:pt modelId="{A7411064-2F36-2640-8811-1BA43B0E9C6B}" type="pres">
      <dgm:prSet presAssocID="{F66BB8F9-0B18-1C4D-833D-07C0B4947FC8}" presName="hierChild3" presStyleCnt="0"/>
      <dgm:spPr/>
    </dgm:pt>
    <dgm:pt modelId="{108BE2A2-51E5-3B45-8AE2-E45B7FC5E34F}" type="pres">
      <dgm:prSet presAssocID="{766FDED9-3B72-CD45-AEA2-706B587F2A8A}" presName="Name19" presStyleLbl="parChTrans1D3" presStyleIdx="0" presStyleCnt="2"/>
      <dgm:spPr/>
      <dgm:t>
        <a:bodyPr/>
        <a:lstStyle/>
        <a:p>
          <a:endParaRPr lang="en-US"/>
        </a:p>
      </dgm:t>
    </dgm:pt>
    <dgm:pt modelId="{7764F13C-CE34-4045-A720-FD627F19D09C}" type="pres">
      <dgm:prSet presAssocID="{4FE94EC0-56A0-454C-8D9C-E411C0B7FF83}" presName="Name21" presStyleCnt="0"/>
      <dgm:spPr/>
    </dgm:pt>
    <dgm:pt modelId="{DE3C6894-68BD-CF42-BF60-24D245330638}" type="pres">
      <dgm:prSet presAssocID="{4FE94EC0-56A0-454C-8D9C-E411C0B7FF83}" presName="level2Shape" presStyleLbl="node3" presStyleIdx="0" presStyleCnt="2"/>
      <dgm:spPr/>
      <dgm:t>
        <a:bodyPr/>
        <a:lstStyle/>
        <a:p>
          <a:endParaRPr lang="en-US"/>
        </a:p>
      </dgm:t>
    </dgm:pt>
    <dgm:pt modelId="{0CB08D1F-875A-5D4F-AFAC-889390074D32}" type="pres">
      <dgm:prSet presAssocID="{4FE94EC0-56A0-454C-8D9C-E411C0B7FF83}" presName="hierChild3" presStyleCnt="0"/>
      <dgm:spPr/>
    </dgm:pt>
    <dgm:pt modelId="{C680E8B3-3818-E049-BA25-6DF52E8F208B}" type="pres">
      <dgm:prSet presAssocID="{83881F87-4F38-1440-9FDD-C8009F9D938C}" presName="Name19" presStyleLbl="parChTrans1D2" presStyleIdx="1" presStyleCnt="2"/>
      <dgm:spPr/>
      <dgm:t>
        <a:bodyPr/>
        <a:lstStyle/>
        <a:p>
          <a:endParaRPr lang="en-US"/>
        </a:p>
      </dgm:t>
    </dgm:pt>
    <dgm:pt modelId="{6CC51E02-1A28-554D-912D-5B7B3D393635}" type="pres">
      <dgm:prSet presAssocID="{D8071BA8-0FF4-4E4E-89E6-93ECD1815730}" presName="Name21" presStyleCnt="0"/>
      <dgm:spPr/>
    </dgm:pt>
    <dgm:pt modelId="{0DE42AFE-CC7E-E647-A23C-2386D9DE6461}" type="pres">
      <dgm:prSet presAssocID="{D8071BA8-0FF4-4E4E-89E6-93ECD1815730}" presName="level2Shape" presStyleLbl="node2" presStyleIdx="0" presStyleCnt="1"/>
      <dgm:spPr/>
      <dgm:t>
        <a:bodyPr/>
        <a:lstStyle/>
        <a:p>
          <a:endParaRPr lang="en-US"/>
        </a:p>
      </dgm:t>
    </dgm:pt>
    <dgm:pt modelId="{67467625-1DB3-DF49-9A42-44B8E9AF9B86}" type="pres">
      <dgm:prSet presAssocID="{D8071BA8-0FF4-4E4E-89E6-93ECD1815730}" presName="hierChild3" presStyleCnt="0"/>
      <dgm:spPr/>
    </dgm:pt>
    <dgm:pt modelId="{9F3A6ACB-6C13-EF4C-A503-83AA2F6A619E}" type="pres">
      <dgm:prSet presAssocID="{47B594E8-4BDB-E84F-846E-5798A6D6F15F}" presName="Name19" presStyleLbl="parChTrans1D3" presStyleIdx="1" presStyleCnt="2"/>
      <dgm:spPr/>
      <dgm:t>
        <a:bodyPr/>
        <a:lstStyle/>
        <a:p>
          <a:endParaRPr lang="en-US"/>
        </a:p>
      </dgm:t>
    </dgm:pt>
    <dgm:pt modelId="{EA223BB6-B9F7-F748-B6AC-73D980AD500D}" type="pres">
      <dgm:prSet presAssocID="{5CA05CD6-06A5-944F-B2A8-95749E415179}" presName="Name21" presStyleCnt="0"/>
      <dgm:spPr/>
    </dgm:pt>
    <dgm:pt modelId="{8E7E76D5-A15C-6547-A9E3-62227DCC7B4A}" type="pres">
      <dgm:prSet presAssocID="{5CA05CD6-06A5-944F-B2A8-95749E415179}" presName="level2Shape" presStyleLbl="node3" presStyleIdx="1" presStyleCnt="2"/>
      <dgm:spPr/>
      <dgm:t>
        <a:bodyPr/>
        <a:lstStyle/>
        <a:p>
          <a:endParaRPr lang="en-US"/>
        </a:p>
      </dgm:t>
    </dgm:pt>
    <dgm:pt modelId="{BC1D1B9C-6E1A-744B-B6B7-48FFBD7ACB1C}" type="pres">
      <dgm:prSet presAssocID="{5CA05CD6-06A5-944F-B2A8-95749E415179}" presName="hierChild3" presStyleCnt="0"/>
      <dgm:spPr/>
    </dgm:pt>
    <dgm:pt modelId="{2AEFADEB-B06E-D043-8363-18721D440900}" type="pres">
      <dgm:prSet presAssocID="{567A04D0-ED81-B648-B4E8-6493EF3441F3}" presName="Name19" presStyleLbl="parChTrans1D4" presStyleIdx="0" presStyleCnt="2"/>
      <dgm:spPr/>
      <dgm:t>
        <a:bodyPr/>
        <a:lstStyle/>
        <a:p>
          <a:endParaRPr lang="en-US"/>
        </a:p>
      </dgm:t>
    </dgm:pt>
    <dgm:pt modelId="{D7609BAE-831F-534E-ABE4-685212B21017}" type="pres">
      <dgm:prSet presAssocID="{F03209A1-D97E-0641-BA28-BD431C608B00}" presName="Name21" presStyleCnt="0"/>
      <dgm:spPr/>
    </dgm:pt>
    <dgm:pt modelId="{632E4C0D-D326-D947-995B-CF163149A6FF}" type="pres">
      <dgm:prSet presAssocID="{F03209A1-D97E-0641-BA28-BD431C608B00}" presName="level2Shape" presStyleLbl="node4" presStyleIdx="0" presStyleCnt="2"/>
      <dgm:spPr/>
      <dgm:t>
        <a:bodyPr/>
        <a:lstStyle/>
        <a:p>
          <a:endParaRPr lang="en-US"/>
        </a:p>
      </dgm:t>
    </dgm:pt>
    <dgm:pt modelId="{AAE2CB19-F984-2742-9E4C-1F7FA7C9F033}" type="pres">
      <dgm:prSet presAssocID="{F03209A1-D97E-0641-BA28-BD431C608B00}" presName="hierChild3" presStyleCnt="0"/>
      <dgm:spPr/>
    </dgm:pt>
    <dgm:pt modelId="{29D5CB15-CED5-9148-84FD-1924C969E2BA}" type="pres">
      <dgm:prSet presAssocID="{C0B632DA-1CE9-084E-B565-E64B7254064E}" presName="Name19" presStyleLbl="parChTrans1D4" presStyleIdx="1" presStyleCnt="2"/>
      <dgm:spPr/>
      <dgm:t>
        <a:bodyPr/>
        <a:lstStyle/>
        <a:p>
          <a:endParaRPr lang="en-US"/>
        </a:p>
      </dgm:t>
    </dgm:pt>
    <dgm:pt modelId="{592E8692-1654-7144-8D25-66D7D59FD989}" type="pres">
      <dgm:prSet presAssocID="{944F6235-C062-F149-867C-1430AE1193E4}" presName="Name21" presStyleCnt="0"/>
      <dgm:spPr/>
    </dgm:pt>
    <dgm:pt modelId="{36313E5C-47D2-684C-8315-D966F1CD83A9}" type="pres">
      <dgm:prSet presAssocID="{944F6235-C062-F149-867C-1430AE1193E4}" presName="level2Shape" presStyleLbl="node4" presStyleIdx="1" presStyleCnt="2"/>
      <dgm:spPr/>
      <dgm:t>
        <a:bodyPr/>
        <a:lstStyle/>
        <a:p>
          <a:endParaRPr lang="en-US"/>
        </a:p>
      </dgm:t>
    </dgm:pt>
    <dgm:pt modelId="{6A5352AD-E013-2746-8228-37A001C45028}" type="pres">
      <dgm:prSet presAssocID="{944F6235-C062-F149-867C-1430AE1193E4}" presName="hierChild3" presStyleCnt="0"/>
      <dgm:spPr/>
    </dgm:pt>
    <dgm:pt modelId="{8235104A-EBC7-BB46-8DA5-5898EC022429}" type="pres">
      <dgm:prSet presAssocID="{1108EB1D-663C-BC43-A1EC-0AD01DE163C2}" presName="bgShapesFlow" presStyleCnt="0"/>
      <dgm:spPr/>
    </dgm:pt>
  </dgm:ptLst>
  <dgm:cxnLst>
    <dgm:cxn modelId="{35A9C442-6211-CF43-9894-AFA57AB6336B}" type="presOf" srcId="{D8071BA8-0FF4-4E4E-89E6-93ECD1815730}" destId="{0DE42AFE-CC7E-E647-A23C-2386D9DE6461}" srcOrd="0" destOrd="0" presId="urn:microsoft.com/office/officeart/2005/8/layout/hierarchy6"/>
    <dgm:cxn modelId="{216D438C-EF07-5744-978C-E688A43241BA}" srcId="{5CA05CD6-06A5-944F-B2A8-95749E415179}" destId="{F03209A1-D97E-0641-BA28-BD431C608B00}" srcOrd="0" destOrd="0" parTransId="{567A04D0-ED81-B648-B4E8-6493EF3441F3}" sibTransId="{B2CF2032-A6DD-574A-993E-2FFF54B662D3}"/>
    <dgm:cxn modelId="{A035FD8A-9FAF-374B-90FC-F463FA47F993}" type="presOf" srcId="{944F6235-C062-F149-867C-1430AE1193E4}" destId="{36313E5C-47D2-684C-8315-D966F1CD83A9}" srcOrd="0" destOrd="0" presId="urn:microsoft.com/office/officeart/2005/8/layout/hierarchy6"/>
    <dgm:cxn modelId="{A86C76CB-53D8-6C4D-A6AC-C134A38CE385}" type="presOf" srcId="{F66BB8F9-0B18-1C4D-833D-07C0B4947FC8}" destId="{82468639-F2CE-8649-B088-CE0EA362EE85}" srcOrd="0" destOrd="0" presId="urn:microsoft.com/office/officeart/2005/8/layout/hierarchy6"/>
    <dgm:cxn modelId="{6A099737-1D19-414E-A86B-8EE7278B6052}" type="presOf" srcId="{5CA05CD6-06A5-944F-B2A8-95749E415179}" destId="{8E7E76D5-A15C-6547-A9E3-62227DCC7B4A}" srcOrd="0" destOrd="0" presId="urn:microsoft.com/office/officeart/2005/8/layout/hierarchy6"/>
    <dgm:cxn modelId="{EF86AF5E-369F-7248-B68B-CCBAFEFC2DF2}" type="presOf" srcId="{83881F87-4F38-1440-9FDD-C8009F9D938C}" destId="{C680E8B3-3818-E049-BA25-6DF52E8F208B}" srcOrd="0" destOrd="0" presId="urn:microsoft.com/office/officeart/2005/8/layout/hierarchy6"/>
    <dgm:cxn modelId="{A828C30E-EB76-2F4A-9CE1-C9DCC0E0DA98}" type="presOf" srcId="{567A04D0-ED81-B648-B4E8-6493EF3441F3}" destId="{2AEFADEB-B06E-D043-8363-18721D440900}" srcOrd="0" destOrd="0" presId="urn:microsoft.com/office/officeart/2005/8/layout/hierarchy6"/>
    <dgm:cxn modelId="{8EC8BC42-8DC9-EC41-9443-DB187090C26E}" srcId="{5CA05CD6-06A5-944F-B2A8-95749E415179}" destId="{944F6235-C062-F149-867C-1430AE1193E4}" srcOrd="1" destOrd="0" parTransId="{C0B632DA-1CE9-084E-B565-E64B7254064E}" sibTransId="{1E148030-DF34-A646-AD18-D467644A3C36}"/>
    <dgm:cxn modelId="{8DEB1D2D-31F2-7F4F-BCCD-112AB87BDA8A}" srcId="{46103EAB-26CF-D44C-8126-2F5E71FC3A78}" destId="{D8071BA8-0FF4-4E4E-89E6-93ECD1815730}" srcOrd="1" destOrd="0" parTransId="{83881F87-4F38-1440-9FDD-C8009F9D938C}" sibTransId="{90C7D004-DD38-194D-BB7E-9566A838CFF6}"/>
    <dgm:cxn modelId="{819A242E-52A7-2142-8A1F-B5D0B0DE79FD}" type="presOf" srcId="{47B594E8-4BDB-E84F-846E-5798A6D6F15F}" destId="{9F3A6ACB-6C13-EF4C-A503-83AA2F6A619E}" srcOrd="0" destOrd="0" presId="urn:microsoft.com/office/officeart/2005/8/layout/hierarchy6"/>
    <dgm:cxn modelId="{E5014B84-218D-B947-81C2-A6C837654D9D}" type="presOf" srcId="{C0B632DA-1CE9-084E-B565-E64B7254064E}" destId="{29D5CB15-CED5-9148-84FD-1924C969E2BA}" srcOrd="0" destOrd="0" presId="urn:microsoft.com/office/officeart/2005/8/layout/hierarchy6"/>
    <dgm:cxn modelId="{079B927F-6927-3C45-B3BA-CDCE32F4389C}" srcId="{1108EB1D-663C-BC43-A1EC-0AD01DE163C2}" destId="{46103EAB-26CF-D44C-8126-2F5E71FC3A78}" srcOrd="0" destOrd="0" parTransId="{50FA72D1-4AB6-9F46-9862-8863E6186354}" sibTransId="{69266B03-B094-7C48-9FEB-51EF7B1DC43A}"/>
    <dgm:cxn modelId="{E870EE0A-8F9C-C140-BCF5-155D5F8F79DF}" type="presOf" srcId="{46103EAB-26CF-D44C-8126-2F5E71FC3A78}" destId="{10D0E644-1691-E141-B082-FE9D3B157799}" srcOrd="0" destOrd="0" presId="urn:microsoft.com/office/officeart/2005/8/layout/hierarchy6"/>
    <dgm:cxn modelId="{097FFE47-2997-5249-BB2E-C2A64F7BE63D}" type="presOf" srcId="{F03209A1-D97E-0641-BA28-BD431C608B00}" destId="{632E4C0D-D326-D947-995B-CF163149A6FF}" srcOrd="0" destOrd="0" presId="urn:microsoft.com/office/officeart/2005/8/layout/hierarchy6"/>
    <dgm:cxn modelId="{4B802837-39FC-2948-86A5-1FB4796C1854}" srcId="{D8071BA8-0FF4-4E4E-89E6-93ECD1815730}" destId="{5CA05CD6-06A5-944F-B2A8-95749E415179}" srcOrd="0" destOrd="0" parTransId="{47B594E8-4BDB-E84F-846E-5798A6D6F15F}" sibTransId="{B28E542E-CBFC-0849-BC13-9CADDC42968B}"/>
    <dgm:cxn modelId="{D7B0E0D7-004E-214A-B50F-B113742C5892}" type="presOf" srcId="{7ADEA12A-07F5-154F-B92A-F6724ED5238E}" destId="{C79AF749-C852-EF41-9DED-8C79ECB1A4C0}" srcOrd="0" destOrd="0" presId="urn:microsoft.com/office/officeart/2005/8/layout/hierarchy6"/>
    <dgm:cxn modelId="{6141D082-071B-C249-8EC2-812018D1E1C9}" type="presOf" srcId="{4FE94EC0-56A0-454C-8D9C-E411C0B7FF83}" destId="{DE3C6894-68BD-CF42-BF60-24D245330638}" srcOrd="0" destOrd="0" presId="urn:microsoft.com/office/officeart/2005/8/layout/hierarchy6"/>
    <dgm:cxn modelId="{C2E8A148-23CB-CA48-8B45-47F84CE70344}" srcId="{46103EAB-26CF-D44C-8126-2F5E71FC3A78}" destId="{F66BB8F9-0B18-1C4D-833D-07C0B4947FC8}" srcOrd="0" destOrd="0" parTransId="{7ADEA12A-07F5-154F-B92A-F6724ED5238E}" sibTransId="{42D6372D-348A-0943-B7C9-0B52264E2BB8}"/>
    <dgm:cxn modelId="{77DE4F68-9379-E342-B8A2-3ABCE09A3E84}" srcId="{F66BB8F9-0B18-1C4D-833D-07C0B4947FC8}" destId="{4FE94EC0-56A0-454C-8D9C-E411C0B7FF83}" srcOrd="0" destOrd="0" parTransId="{766FDED9-3B72-CD45-AEA2-706B587F2A8A}" sibTransId="{25D655EA-D2A4-7B4D-837B-67EA474EE1B0}"/>
    <dgm:cxn modelId="{0BAE1612-B783-8247-B2BD-6771D29ED4E3}" type="presOf" srcId="{766FDED9-3B72-CD45-AEA2-706B587F2A8A}" destId="{108BE2A2-51E5-3B45-8AE2-E45B7FC5E34F}" srcOrd="0" destOrd="0" presId="urn:microsoft.com/office/officeart/2005/8/layout/hierarchy6"/>
    <dgm:cxn modelId="{B181914F-A1A0-4B43-822B-5BA0A4C629C2}" type="presOf" srcId="{1108EB1D-663C-BC43-A1EC-0AD01DE163C2}" destId="{3B0225DE-92D8-A947-9749-EF56569D73A4}" srcOrd="0" destOrd="0" presId="urn:microsoft.com/office/officeart/2005/8/layout/hierarchy6"/>
    <dgm:cxn modelId="{583F0A4F-AF49-534D-9D81-B7DF8158FB69}" type="presParOf" srcId="{3B0225DE-92D8-A947-9749-EF56569D73A4}" destId="{5A3C48AE-B7D2-AD47-AC52-60B373A31A1D}" srcOrd="0" destOrd="0" presId="urn:microsoft.com/office/officeart/2005/8/layout/hierarchy6"/>
    <dgm:cxn modelId="{E63CBDBC-CFCC-9740-89E7-BACF1296AF6F}" type="presParOf" srcId="{5A3C48AE-B7D2-AD47-AC52-60B373A31A1D}" destId="{CC0D37E0-E7A2-6640-9AD8-1ED8C2972752}" srcOrd="0" destOrd="0" presId="urn:microsoft.com/office/officeart/2005/8/layout/hierarchy6"/>
    <dgm:cxn modelId="{576CF4E8-F065-184D-A7F0-A872FDBBE978}" type="presParOf" srcId="{CC0D37E0-E7A2-6640-9AD8-1ED8C2972752}" destId="{3E0F04C3-A29C-4949-A6B2-A781A4B799AB}" srcOrd="0" destOrd="0" presId="urn:microsoft.com/office/officeart/2005/8/layout/hierarchy6"/>
    <dgm:cxn modelId="{7AB282C4-0D07-834A-A6E2-EEF14D11C62E}" type="presParOf" srcId="{3E0F04C3-A29C-4949-A6B2-A781A4B799AB}" destId="{10D0E644-1691-E141-B082-FE9D3B157799}" srcOrd="0" destOrd="0" presId="urn:microsoft.com/office/officeart/2005/8/layout/hierarchy6"/>
    <dgm:cxn modelId="{C3A26D25-AF37-3C48-9CE5-F12364ADB191}" type="presParOf" srcId="{3E0F04C3-A29C-4949-A6B2-A781A4B799AB}" destId="{1B913789-21BB-2740-BDAD-FCEE45B99A84}" srcOrd="1" destOrd="0" presId="urn:microsoft.com/office/officeart/2005/8/layout/hierarchy6"/>
    <dgm:cxn modelId="{74624532-6F4D-B24A-961F-9BB0DC7B556E}" type="presParOf" srcId="{1B913789-21BB-2740-BDAD-FCEE45B99A84}" destId="{C79AF749-C852-EF41-9DED-8C79ECB1A4C0}" srcOrd="0" destOrd="0" presId="urn:microsoft.com/office/officeart/2005/8/layout/hierarchy6"/>
    <dgm:cxn modelId="{150B7E0B-A12B-CF41-8EFD-6AD93292C3EC}" type="presParOf" srcId="{1B913789-21BB-2740-BDAD-FCEE45B99A84}" destId="{BE06A375-5FA4-4245-AB3D-61283ED2CC1F}" srcOrd="1" destOrd="0" presId="urn:microsoft.com/office/officeart/2005/8/layout/hierarchy6"/>
    <dgm:cxn modelId="{74269845-2A45-FA40-A25D-44D9437255D5}" type="presParOf" srcId="{BE06A375-5FA4-4245-AB3D-61283ED2CC1F}" destId="{82468639-F2CE-8649-B088-CE0EA362EE85}" srcOrd="0" destOrd="0" presId="urn:microsoft.com/office/officeart/2005/8/layout/hierarchy6"/>
    <dgm:cxn modelId="{84D50F0F-C9FE-D343-A12D-854CF88E914B}" type="presParOf" srcId="{BE06A375-5FA4-4245-AB3D-61283ED2CC1F}" destId="{A7411064-2F36-2640-8811-1BA43B0E9C6B}" srcOrd="1" destOrd="0" presId="urn:microsoft.com/office/officeart/2005/8/layout/hierarchy6"/>
    <dgm:cxn modelId="{268DF0C6-A3A5-E546-AC70-C3925373A9B8}" type="presParOf" srcId="{A7411064-2F36-2640-8811-1BA43B0E9C6B}" destId="{108BE2A2-51E5-3B45-8AE2-E45B7FC5E34F}" srcOrd="0" destOrd="0" presId="urn:microsoft.com/office/officeart/2005/8/layout/hierarchy6"/>
    <dgm:cxn modelId="{59CBE27D-35A7-FF49-A871-DB8698CDF0AA}" type="presParOf" srcId="{A7411064-2F36-2640-8811-1BA43B0E9C6B}" destId="{7764F13C-CE34-4045-A720-FD627F19D09C}" srcOrd="1" destOrd="0" presId="urn:microsoft.com/office/officeart/2005/8/layout/hierarchy6"/>
    <dgm:cxn modelId="{F59DEFB9-3FEA-EC4D-BBCC-45464205209D}" type="presParOf" srcId="{7764F13C-CE34-4045-A720-FD627F19D09C}" destId="{DE3C6894-68BD-CF42-BF60-24D245330638}" srcOrd="0" destOrd="0" presId="urn:microsoft.com/office/officeart/2005/8/layout/hierarchy6"/>
    <dgm:cxn modelId="{DE0757C6-6C5C-704A-9F33-9BD751E3020D}" type="presParOf" srcId="{7764F13C-CE34-4045-A720-FD627F19D09C}" destId="{0CB08D1F-875A-5D4F-AFAC-889390074D32}" srcOrd="1" destOrd="0" presId="urn:microsoft.com/office/officeart/2005/8/layout/hierarchy6"/>
    <dgm:cxn modelId="{280AC90C-FB7B-B543-9D83-9D884D29D3AE}" type="presParOf" srcId="{1B913789-21BB-2740-BDAD-FCEE45B99A84}" destId="{C680E8B3-3818-E049-BA25-6DF52E8F208B}" srcOrd="2" destOrd="0" presId="urn:microsoft.com/office/officeart/2005/8/layout/hierarchy6"/>
    <dgm:cxn modelId="{9D63BEA7-80D2-7040-95FC-5636897E7AF4}" type="presParOf" srcId="{1B913789-21BB-2740-BDAD-FCEE45B99A84}" destId="{6CC51E02-1A28-554D-912D-5B7B3D393635}" srcOrd="3" destOrd="0" presId="urn:microsoft.com/office/officeart/2005/8/layout/hierarchy6"/>
    <dgm:cxn modelId="{BC11E40B-EDAD-A340-AD41-6EFC1B13D0D8}" type="presParOf" srcId="{6CC51E02-1A28-554D-912D-5B7B3D393635}" destId="{0DE42AFE-CC7E-E647-A23C-2386D9DE6461}" srcOrd="0" destOrd="0" presId="urn:microsoft.com/office/officeart/2005/8/layout/hierarchy6"/>
    <dgm:cxn modelId="{484DFA0C-D112-D94B-841A-F353CDF1D17B}" type="presParOf" srcId="{6CC51E02-1A28-554D-912D-5B7B3D393635}" destId="{67467625-1DB3-DF49-9A42-44B8E9AF9B86}" srcOrd="1" destOrd="0" presId="urn:microsoft.com/office/officeart/2005/8/layout/hierarchy6"/>
    <dgm:cxn modelId="{9B21F5C8-CCD9-424C-887E-92390952B5B2}" type="presParOf" srcId="{67467625-1DB3-DF49-9A42-44B8E9AF9B86}" destId="{9F3A6ACB-6C13-EF4C-A503-83AA2F6A619E}" srcOrd="0" destOrd="0" presId="urn:microsoft.com/office/officeart/2005/8/layout/hierarchy6"/>
    <dgm:cxn modelId="{B146EB11-39D1-8C41-BFAF-E2555FB2DA3E}" type="presParOf" srcId="{67467625-1DB3-DF49-9A42-44B8E9AF9B86}" destId="{EA223BB6-B9F7-F748-B6AC-73D980AD500D}" srcOrd="1" destOrd="0" presId="urn:microsoft.com/office/officeart/2005/8/layout/hierarchy6"/>
    <dgm:cxn modelId="{667A222E-B424-EB43-B194-5BFD763DE575}" type="presParOf" srcId="{EA223BB6-B9F7-F748-B6AC-73D980AD500D}" destId="{8E7E76D5-A15C-6547-A9E3-62227DCC7B4A}" srcOrd="0" destOrd="0" presId="urn:microsoft.com/office/officeart/2005/8/layout/hierarchy6"/>
    <dgm:cxn modelId="{9B9BECF1-DC2F-434F-8B27-981DD58FB2E8}" type="presParOf" srcId="{EA223BB6-B9F7-F748-B6AC-73D980AD500D}" destId="{BC1D1B9C-6E1A-744B-B6B7-48FFBD7ACB1C}" srcOrd="1" destOrd="0" presId="urn:microsoft.com/office/officeart/2005/8/layout/hierarchy6"/>
    <dgm:cxn modelId="{1B88E8A9-244A-C540-B443-FC2386A7B7E7}" type="presParOf" srcId="{BC1D1B9C-6E1A-744B-B6B7-48FFBD7ACB1C}" destId="{2AEFADEB-B06E-D043-8363-18721D440900}" srcOrd="0" destOrd="0" presId="urn:microsoft.com/office/officeart/2005/8/layout/hierarchy6"/>
    <dgm:cxn modelId="{45C685FB-0747-EF45-9AAF-844C8A910FF5}" type="presParOf" srcId="{BC1D1B9C-6E1A-744B-B6B7-48FFBD7ACB1C}" destId="{D7609BAE-831F-534E-ABE4-685212B21017}" srcOrd="1" destOrd="0" presId="urn:microsoft.com/office/officeart/2005/8/layout/hierarchy6"/>
    <dgm:cxn modelId="{4D065D10-493A-8749-ADD1-4C7854CCFCA9}" type="presParOf" srcId="{D7609BAE-831F-534E-ABE4-685212B21017}" destId="{632E4C0D-D326-D947-995B-CF163149A6FF}" srcOrd="0" destOrd="0" presId="urn:microsoft.com/office/officeart/2005/8/layout/hierarchy6"/>
    <dgm:cxn modelId="{F2AAD797-E86F-224E-9380-A0E9B8E1B808}" type="presParOf" srcId="{D7609BAE-831F-534E-ABE4-685212B21017}" destId="{AAE2CB19-F984-2742-9E4C-1F7FA7C9F033}" srcOrd="1" destOrd="0" presId="urn:microsoft.com/office/officeart/2005/8/layout/hierarchy6"/>
    <dgm:cxn modelId="{8034887D-84A6-AB4C-9843-8A8A062B2385}" type="presParOf" srcId="{BC1D1B9C-6E1A-744B-B6B7-48FFBD7ACB1C}" destId="{29D5CB15-CED5-9148-84FD-1924C969E2BA}" srcOrd="2" destOrd="0" presId="urn:microsoft.com/office/officeart/2005/8/layout/hierarchy6"/>
    <dgm:cxn modelId="{8769345A-4F38-A644-8297-0B76C48E9446}" type="presParOf" srcId="{BC1D1B9C-6E1A-744B-B6B7-48FFBD7ACB1C}" destId="{592E8692-1654-7144-8D25-66D7D59FD989}" srcOrd="3" destOrd="0" presId="urn:microsoft.com/office/officeart/2005/8/layout/hierarchy6"/>
    <dgm:cxn modelId="{2DD6C567-3489-CC4C-B216-5F659A483C29}" type="presParOf" srcId="{592E8692-1654-7144-8D25-66D7D59FD989}" destId="{36313E5C-47D2-684C-8315-D966F1CD83A9}" srcOrd="0" destOrd="0" presId="urn:microsoft.com/office/officeart/2005/8/layout/hierarchy6"/>
    <dgm:cxn modelId="{06B6EF86-9B1F-5A4D-BFA7-780E59F976FA}" type="presParOf" srcId="{592E8692-1654-7144-8D25-66D7D59FD989}" destId="{6A5352AD-E013-2746-8228-37A001C45028}" srcOrd="1" destOrd="0" presId="urn:microsoft.com/office/officeart/2005/8/layout/hierarchy6"/>
    <dgm:cxn modelId="{43E89DD8-F022-AC44-B939-942991529731}" type="presParOf" srcId="{3B0225DE-92D8-A947-9749-EF56569D73A4}" destId="{8235104A-EBC7-BB46-8DA5-5898EC022429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D0E644-1691-E141-B082-FE9D3B157799}">
      <dsp:nvSpPr>
        <dsp:cNvPr id="0" name=""/>
        <dsp:cNvSpPr/>
      </dsp:nvSpPr>
      <dsp:spPr>
        <a:xfrm>
          <a:off x="2440275" y="2396"/>
          <a:ext cx="1292804" cy="8618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Eric Pac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(Digital)</a:t>
          </a:r>
        </a:p>
      </dsp:txBody>
      <dsp:txXfrm>
        <a:off x="2465518" y="27639"/>
        <a:ext cx="1242318" cy="811383"/>
      </dsp:txXfrm>
    </dsp:sp>
    <dsp:sp modelId="{C79AF749-C852-EF41-9DED-8C79ECB1A4C0}">
      <dsp:nvSpPr>
        <dsp:cNvPr id="0" name=""/>
        <dsp:cNvSpPr/>
      </dsp:nvSpPr>
      <dsp:spPr>
        <a:xfrm>
          <a:off x="1826192" y="864265"/>
          <a:ext cx="1260484" cy="344747"/>
        </a:xfrm>
        <a:custGeom>
          <a:avLst/>
          <a:gdLst/>
          <a:ahLst/>
          <a:cxnLst/>
          <a:rect l="0" t="0" r="0" b="0"/>
          <a:pathLst>
            <a:path>
              <a:moveTo>
                <a:pt x="1260484" y="0"/>
              </a:moveTo>
              <a:lnTo>
                <a:pt x="1260484" y="172373"/>
              </a:lnTo>
              <a:lnTo>
                <a:pt x="0" y="172373"/>
              </a:lnTo>
              <a:lnTo>
                <a:pt x="0" y="344747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468639-F2CE-8649-B088-CE0EA362EE85}">
      <dsp:nvSpPr>
        <dsp:cNvPr id="0" name=""/>
        <dsp:cNvSpPr/>
      </dsp:nvSpPr>
      <dsp:spPr>
        <a:xfrm>
          <a:off x="1179790" y="1209013"/>
          <a:ext cx="1292804" cy="8618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Matt Earnest</a:t>
          </a:r>
        </a:p>
      </dsp:txBody>
      <dsp:txXfrm>
        <a:off x="1205033" y="1234256"/>
        <a:ext cx="1242318" cy="811383"/>
      </dsp:txXfrm>
    </dsp:sp>
    <dsp:sp modelId="{108BE2A2-51E5-3B45-8AE2-E45B7FC5E34F}">
      <dsp:nvSpPr>
        <dsp:cNvPr id="0" name=""/>
        <dsp:cNvSpPr/>
      </dsp:nvSpPr>
      <dsp:spPr>
        <a:xfrm>
          <a:off x="1780472" y="2070883"/>
          <a:ext cx="91440" cy="3447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474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3C6894-68BD-CF42-BF60-24D245330638}">
      <dsp:nvSpPr>
        <dsp:cNvPr id="0" name=""/>
        <dsp:cNvSpPr/>
      </dsp:nvSpPr>
      <dsp:spPr>
        <a:xfrm>
          <a:off x="1179790" y="2415630"/>
          <a:ext cx="1292804" cy="8618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Elliot Schwartz</a:t>
          </a:r>
        </a:p>
      </dsp:txBody>
      <dsp:txXfrm>
        <a:off x="1205033" y="2440873"/>
        <a:ext cx="1242318" cy="811383"/>
      </dsp:txXfrm>
    </dsp:sp>
    <dsp:sp modelId="{C680E8B3-3818-E049-BA25-6DF52E8F208B}">
      <dsp:nvSpPr>
        <dsp:cNvPr id="0" name=""/>
        <dsp:cNvSpPr/>
      </dsp:nvSpPr>
      <dsp:spPr>
        <a:xfrm>
          <a:off x="3086677" y="864265"/>
          <a:ext cx="1260484" cy="344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373"/>
              </a:lnTo>
              <a:lnTo>
                <a:pt x="1260484" y="172373"/>
              </a:lnTo>
              <a:lnTo>
                <a:pt x="1260484" y="344747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E42AFE-CC7E-E647-A23C-2386D9DE6461}">
      <dsp:nvSpPr>
        <dsp:cNvPr id="0" name=""/>
        <dsp:cNvSpPr/>
      </dsp:nvSpPr>
      <dsp:spPr>
        <a:xfrm>
          <a:off x="3700759" y="1209013"/>
          <a:ext cx="1292804" cy="8618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AI &amp; Analytics</a:t>
          </a:r>
        </a:p>
      </dsp:txBody>
      <dsp:txXfrm>
        <a:off x="3726002" y="1234256"/>
        <a:ext cx="1242318" cy="811383"/>
      </dsp:txXfrm>
    </dsp:sp>
    <dsp:sp modelId="{9F3A6ACB-6C13-EF4C-A503-83AA2F6A619E}">
      <dsp:nvSpPr>
        <dsp:cNvPr id="0" name=""/>
        <dsp:cNvSpPr/>
      </dsp:nvSpPr>
      <dsp:spPr>
        <a:xfrm>
          <a:off x="4301441" y="2070883"/>
          <a:ext cx="91440" cy="3447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474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7E76D5-A15C-6547-A9E3-62227DCC7B4A}">
      <dsp:nvSpPr>
        <dsp:cNvPr id="0" name=""/>
        <dsp:cNvSpPr/>
      </dsp:nvSpPr>
      <dsp:spPr>
        <a:xfrm>
          <a:off x="3700759" y="2415630"/>
          <a:ext cx="1292804" cy="8618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Richard Brown</a:t>
          </a:r>
        </a:p>
      </dsp:txBody>
      <dsp:txXfrm>
        <a:off x="3726002" y="2440873"/>
        <a:ext cx="1242318" cy="811383"/>
      </dsp:txXfrm>
    </dsp:sp>
    <dsp:sp modelId="{2AEFADEB-B06E-D043-8363-18721D440900}">
      <dsp:nvSpPr>
        <dsp:cNvPr id="0" name=""/>
        <dsp:cNvSpPr/>
      </dsp:nvSpPr>
      <dsp:spPr>
        <a:xfrm>
          <a:off x="3506838" y="3277500"/>
          <a:ext cx="840322" cy="344747"/>
        </a:xfrm>
        <a:custGeom>
          <a:avLst/>
          <a:gdLst/>
          <a:ahLst/>
          <a:cxnLst/>
          <a:rect l="0" t="0" r="0" b="0"/>
          <a:pathLst>
            <a:path>
              <a:moveTo>
                <a:pt x="840322" y="0"/>
              </a:moveTo>
              <a:lnTo>
                <a:pt x="840322" y="172373"/>
              </a:lnTo>
              <a:lnTo>
                <a:pt x="0" y="172373"/>
              </a:lnTo>
              <a:lnTo>
                <a:pt x="0" y="34474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2E4C0D-D326-D947-995B-CF163149A6FF}">
      <dsp:nvSpPr>
        <dsp:cNvPr id="0" name=""/>
        <dsp:cNvSpPr/>
      </dsp:nvSpPr>
      <dsp:spPr>
        <a:xfrm>
          <a:off x="2860436" y="3622248"/>
          <a:ext cx="1292804" cy="86186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Praveen</a:t>
          </a:r>
        </a:p>
      </dsp:txBody>
      <dsp:txXfrm>
        <a:off x="2885679" y="3647491"/>
        <a:ext cx="1242318" cy="811383"/>
      </dsp:txXfrm>
    </dsp:sp>
    <dsp:sp modelId="{29D5CB15-CED5-9148-84FD-1924C969E2BA}">
      <dsp:nvSpPr>
        <dsp:cNvPr id="0" name=""/>
        <dsp:cNvSpPr/>
      </dsp:nvSpPr>
      <dsp:spPr>
        <a:xfrm>
          <a:off x="4347161" y="3277500"/>
          <a:ext cx="840322" cy="344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373"/>
              </a:lnTo>
              <a:lnTo>
                <a:pt x="840322" y="172373"/>
              </a:lnTo>
              <a:lnTo>
                <a:pt x="840322" y="34474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313E5C-47D2-684C-8315-D966F1CD83A9}">
      <dsp:nvSpPr>
        <dsp:cNvPr id="0" name=""/>
        <dsp:cNvSpPr/>
      </dsp:nvSpPr>
      <dsp:spPr>
        <a:xfrm>
          <a:off x="4541081" y="3622248"/>
          <a:ext cx="1292804" cy="86186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err="1"/>
            <a:t>eClerx</a:t>
          </a:r>
          <a:endParaRPr lang="en-US" sz="1900" kern="1200" dirty="0"/>
        </a:p>
      </dsp:txBody>
      <dsp:txXfrm>
        <a:off x="4566324" y="3647491"/>
        <a:ext cx="1242318" cy="811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0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X Operational Reporting Updat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09/27/2024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403165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4045" y="93714"/>
            <a:ext cx="11566005" cy="897971"/>
          </a:xfrm>
        </p:spPr>
        <p:txBody>
          <a:bodyPr/>
          <a:lstStyle/>
          <a:p>
            <a:r>
              <a:rPr lang="en-IN" dirty="0"/>
              <a:t>Status Summary – WO 23</a:t>
            </a:r>
            <a:r>
              <a:rPr lang="en-IN" baseline="30000" dirty="0"/>
              <a:t>rd</a:t>
            </a:r>
            <a:r>
              <a:rPr lang="en-IN" dirty="0"/>
              <a:t> </a:t>
            </a:r>
            <a:r>
              <a:rPr lang="en-IN" dirty="0" smtClean="0"/>
              <a:t>Sept: CIAM Progra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902004"/>
              </p:ext>
            </p:extLst>
          </p:nvPr>
        </p:nvGraphicFramePr>
        <p:xfrm>
          <a:off x="229435" y="847753"/>
          <a:ext cx="11559442" cy="54666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3736">
                  <a:extLst>
                    <a:ext uri="{9D8B030D-6E8A-4147-A177-3AD203B41FA5}">
                      <a16:colId xmlns:a16="http://schemas.microsoft.com/office/drawing/2014/main" val="3087055381"/>
                    </a:ext>
                  </a:extLst>
                </a:gridCol>
                <a:gridCol w="10295706">
                  <a:extLst>
                    <a:ext uri="{9D8B030D-6E8A-4147-A177-3AD203B41FA5}">
                      <a16:colId xmlns:a16="http://schemas.microsoft.com/office/drawing/2014/main" val="2056260532"/>
                    </a:ext>
                  </a:extLst>
                </a:gridCol>
              </a:tblGrid>
              <a:tr h="1660511">
                <a:tc>
                  <a:txBody>
                    <a:bodyPr/>
                    <a:lstStyle/>
                    <a:p>
                      <a:pPr algn="ctr"/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gress</a:t>
                      </a:r>
                      <a:endParaRPr lang="en-IN" sz="14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Engineering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d Fact tables in Athena &amp; Uploaded in S3 [CIAM_DATAMODEL Schema]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ity checks done on the fact tables to align on data range understood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 tables for Metric calculation and BI developm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Development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reframe creation &amp; re-alignment </a:t>
                      </a:r>
                      <a:endParaRPr lang="en-IN" sz="140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idation of columns from Fact tables, aligning to Profile &amp; Activity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 tables for Metric calculation and visualiz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082508"/>
                  </a:ext>
                </a:extLst>
              </a:tr>
              <a:tr h="129053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 for next 2 wee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Engineering: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to BI development for metric tables and calculations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ing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ition – External table in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hena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L Pipeline</a:t>
                      </a:r>
                      <a:endParaRPr lang="en-US" sz="140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Development: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ing Quick Sight for metric validation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pping questions ( Vision house pillar &amp; Additional business questions) to metrics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ile visualization creation in Excel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5036310"/>
                  </a:ext>
                </a:extLst>
              </a:tr>
              <a:tr h="89468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irement</a:t>
                      </a:r>
                      <a:endParaRPr lang="en-IN" sz="1400" kern="1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Engineering: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d inputs on the source to update the empty columns, currently kept as placeholder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les for certain columns like Activity name, User permissions &amp; authentication error.</a:t>
                      </a:r>
                      <a:endParaRPr lang="en-US" sz="140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384666"/>
                  </a:ext>
                </a:extLst>
              </a:tr>
              <a:tr h="74500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llenges </a:t>
                      </a:r>
                      <a:r>
                        <a:rPr lang="en-IN" sz="14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5050">
                            <a:tint val="66000"/>
                            <a:satMod val="160000"/>
                          </a:srgbClr>
                        </a:gs>
                        <a:gs pos="50000">
                          <a:srgbClr val="FF5050">
                            <a:tint val="44500"/>
                            <a:satMod val="160000"/>
                          </a:srgbClr>
                        </a:gs>
                        <a:gs pos="100000">
                          <a:srgbClr val="FF5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 Engineering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DS Accesses in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I COE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andbox, to perform ETL pipeline and Partition on external table in Athena. </a:t>
                      </a:r>
                      <a:r>
                        <a:rPr lang="en-US" sz="14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reating Lags in project timelines.</a:t>
                      </a:r>
                      <a:endParaRPr lang="en-US" sz="14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ess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ableau. </a:t>
                      </a:r>
                      <a:r>
                        <a:rPr lang="en-US" sz="14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Need Knowledge worker role for eClerx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cel file in browser has limit with certain number of updates and file size. </a:t>
                      </a:r>
                      <a:r>
                        <a:rPr lang="en-US" sz="14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aking it difficult for working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mited metrics available to show good progress.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27758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188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tatus Summary – WO 23</a:t>
            </a:r>
            <a:r>
              <a:rPr lang="en-IN" baseline="30000" dirty="0"/>
              <a:t>rd</a:t>
            </a:r>
            <a:r>
              <a:rPr lang="en-IN" dirty="0"/>
              <a:t> Sept: </a:t>
            </a:r>
            <a:r>
              <a:rPr lang="en-IN" dirty="0" smtClean="0"/>
              <a:t>Commercial Dashboard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CI Proprietary and Confidentia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942916"/>
              </p:ext>
            </p:extLst>
          </p:nvPr>
        </p:nvGraphicFramePr>
        <p:xfrm>
          <a:off x="229435" y="1207996"/>
          <a:ext cx="11559442" cy="37481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3736">
                  <a:extLst>
                    <a:ext uri="{9D8B030D-6E8A-4147-A177-3AD203B41FA5}">
                      <a16:colId xmlns:a16="http://schemas.microsoft.com/office/drawing/2014/main" val="3087055381"/>
                    </a:ext>
                  </a:extLst>
                </a:gridCol>
                <a:gridCol w="10295706">
                  <a:extLst>
                    <a:ext uri="{9D8B030D-6E8A-4147-A177-3AD203B41FA5}">
                      <a16:colId xmlns:a16="http://schemas.microsoft.com/office/drawing/2014/main" val="2056260532"/>
                    </a:ext>
                  </a:extLst>
                </a:gridCol>
              </a:tblGrid>
              <a:tr h="1082920">
                <a:tc>
                  <a:txBody>
                    <a:bodyPr/>
                    <a:lstStyle/>
                    <a:p>
                      <a:pPr algn="ctr"/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gress</a:t>
                      </a:r>
                      <a:endParaRPr lang="en-IN" sz="14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Engineering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d table in Athena for CB profile metric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d table in Athena for Adoption and Containment</a:t>
                      </a: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mizing query in progress.</a:t>
                      </a:r>
                      <a:endParaRPr lang="en-IN" sz="1400" b="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082508"/>
                  </a:ext>
                </a:extLst>
              </a:tr>
              <a:tr h="14408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 for next 2 wee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Engineering</a:t>
                      </a: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ing Final query with Date range and historical data.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Need to discuss with Praveen for below options]</a:t>
                      </a:r>
                      <a:endParaRPr lang="en-US" sz="140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 defTabSz="45718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load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in S3 </a:t>
                      </a:r>
                    </a:p>
                    <a:p>
                      <a:pPr marL="285750" lvl="0" indent="-285750" algn="l" defTabSz="45718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ernal table in Athena</a:t>
                      </a:r>
                    </a:p>
                    <a:p>
                      <a:pPr marL="285750" lvl="0" indent="-285750" algn="l" defTabSz="45718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ad historical data [2023 &amp; 2024]</a:t>
                      </a:r>
                    </a:p>
                    <a:p>
                      <a:pPr marL="285750" lvl="0" indent="-285750" algn="l" defTabSz="45718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 data pipeline for processing</a:t>
                      </a:r>
                    </a:p>
                    <a:p>
                      <a:pPr marL="285750" lvl="0" indent="-285750" algn="l" defTabSz="45718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 </a:t>
                      </a: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edulers</a:t>
                      </a:r>
                    </a:p>
                    <a:p>
                      <a:pPr marL="285750" lvl="0" indent="-285750" algn="l" defTabSz="457189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bleau view creation</a:t>
                      </a:r>
                      <a:endParaRPr lang="en-US" sz="140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5036310"/>
                  </a:ext>
                </a:extLst>
              </a:tr>
              <a:tr h="745008"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irement: </a:t>
                      </a:r>
                      <a:r>
                        <a:rPr lang="en-IN" sz="14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5050">
                            <a:tint val="66000"/>
                            <a:satMod val="160000"/>
                          </a:srgbClr>
                        </a:gs>
                        <a:gs pos="50000">
                          <a:srgbClr val="FF5050">
                            <a:tint val="44500"/>
                            <a:satMod val="160000"/>
                          </a:srgbClr>
                        </a:gs>
                        <a:gs pos="100000">
                          <a:srgbClr val="FF5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firmation on Date range.</a:t>
                      </a:r>
                      <a:endParaRPr lang="en-US" sz="140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27758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944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tatus Summary – WO 23</a:t>
            </a:r>
            <a:r>
              <a:rPr lang="en-IN" baseline="30000" dirty="0"/>
              <a:t>rd</a:t>
            </a:r>
            <a:r>
              <a:rPr lang="en-IN" dirty="0"/>
              <a:t> Sept: </a:t>
            </a:r>
            <a:r>
              <a:rPr lang="en-IN" dirty="0" smtClean="0"/>
              <a:t>Health Scorecard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CI Proprietary and Confidentia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524811"/>
              </p:ext>
            </p:extLst>
          </p:nvPr>
        </p:nvGraphicFramePr>
        <p:xfrm>
          <a:off x="229435" y="1207996"/>
          <a:ext cx="11559442" cy="29660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3736">
                  <a:extLst>
                    <a:ext uri="{9D8B030D-6E8A-4147-A177-3AD203B41FA5}">
                      <a16:colId xmlns:a16="http://schemas.microsoft.com/office/drawing/2014/main" val="3087055381"/>
                    </a:ext>
                  </a:extLst>
                </a:gridCol>
                <a:gridCol w="10295706">
                  <a:extLst>
                    <a:ext uri="{9D8B030D-6E8A-4147-A177-3AD203B41FA5}">
                      <a16:colId xmlns:a16="http://schemas.microsoft.com/office/drawing/2014/main" val="2056260532"/>
                    </a:ext>
                  </a:extLst>
                </a:gridCol>
              </a:tblGrid>
              <a:tr h="1082920">
                <a:tc>
                  <a:txBody>
                    <a:bodyPr/>
                    <a:lstStyle/>
                    <a:p>
                      <a:pPr algn="ctr"/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r>
                        <a:rPr lang="en-IN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ogress</a:t>
                      </a:r>
                      <a:endParaRPr lang="en-IN" sz="14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b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Develop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derstanding the Excel shee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ula and calculations interpret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ple metric visualization </a:t>
                      </a: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b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ing </a:t>
                      </a:r>
                      <a:r>
                        <a:rPr lang="en-IN" sz="1400" b="1" i="1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terday</a:t>
                      </a:r>
                      <a:r>
                        <a:rPr lang="en-IN" sz="1400" b="0" i="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lumn for all metrics</a:t>
                      </a:r>
                      <a:endParaRPr lang="en-IN" sz="1400" b="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ing color indicators basis Standard Deviation/ Yesterday in progres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N" sz="1400" b="0" kern="1200" baseline="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082508"/>
                  </a:ext>
                </a:extLst>
              </a:tr>
              <a:tr h="72748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 for next wee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ing 7 days and 30 days calculation for all metric</a:t>
                      </a:r>
                    </a:p>
                    <a:p>
                      <a:pPr marL="285750" marR="0" lvl="0" indent="-28575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esthetic enhancements– Tone down the blue, trend lines to be wider, make the labels readabl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5036310"/>
                  </a:ext>
                </a:extLst>
              </a:tr>
              <a:tr h="745008"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4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llenges </a:t>
                      </a:r>
                      <a:r>
                        <a:rPr lang="en-IN" sz="14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5050">
                            <a:tint val="66000"/>
                            <a:satMod val="160000"/>
                          </a:srgbClr>
                        </a:gs>
                        <a:gs pos="50000">
                          <a:srgbClr val="FF5050">
                            <a:tint val="44500"/>
                            <a:satMod val="160000"/>
                          </a:srgbClr>
                        </a:gs>
                        <a:gs pos="100000">
                          <a:srgbClr val="FF5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ess to Tableau. </a:t>
                      </a:r>
                      <a:r>
                        <a:rPr lang="en-US" sz="14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Need Knowledge worker role for eClerx.</a:t>
                      </a:r>
                      <a:endParaRPr lang="en-US" sz="14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27758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43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6515100"/>
            <a:ext cx="1471613" cy="207963"/>
          </a:xfrm>
        </p:spPr>
        <p:txBody>
          <a:bodyPr/>
          <a:lstStyle/>
          <a:p>
            <a:r>
              <a:rPr lang="en-US" smtClean="0"/>
              <a:t>CCI Proprietary and 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0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D20BF-6937-C158-87D5-D8164B05D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24" y="-11635"/>
            <a:ext cx="11204448" cy="533240"/>
          </a:xfrm>
        </p:spPr>
        <p:txBody>
          <a:bodyPr/>
          <a:lstStyle/>
          <a:p>
            <a:r>
              <a:rPr lang="en-US" sz="2800" dirty="0"/>
              <a:t>CIAM - Functions, Initiatives and Metr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14C498-091A-4E65-B4EA-2097B0A0A2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7ECDD9-19E3-3387-942B-D6B5A0ABCE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34ABF21-CF21-7747-FE27-5A295126B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955" y="521605"/>
            <a:ext cx="10017483" cy="581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9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in Pipe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9FD528-FC34-C26D-F2AF-54A78DDBC1C8}"/>
              </a:ext>
            </a:extLst>
          </p:cNvPr>
          <p:cNvSpPr txBox="1"/>
          <p:nvPr/>
        </p:nvSpPr>
        <p:spPr>
          <a:xfrm>
            <a:off x="489727" y="1356851"/>
            <a:ext cx="7775205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 algn="l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perational Health Scorecards (Digital Health and Behavior)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igrate excel based ‘residential mobile app’ scorecard to tableau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ew scorecard for ‘residential web’ in tableau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ew scorecard for ‘commercial web’ in tableau</a:t>
            </a:r>
          </a:p>
          <a:p>
            <a:pPr marL="914389" lvl="1" indent="-457200">
              <a:buFont typeface="+mj-lt"/>
              <a:buAutoNum type="arabicPeriod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mpaign Performance Scorecard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uild data layer for reporting and modelling purposes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obe data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RM data</a:t>
            </a:r>
          </a:p>
          <a:p>
            <a:pPr marL="914389" lvl="1" indent="-457200">
              <a:buFont typeface="+mj-lt"/>
              <a:buAutoNum type="arabicPeriod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6069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F8418-FC00-588A-B8ED-32E40361E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l Or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0984D-D3AA-13FD-FC57-19FF607410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80433-0019-7C2D-7F84-C5C9D3674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1A9FC02D-9B4B-0713-8D40-F184A890B3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2946522"/>
              </p:ext>
            </p:extLst>
          </p:nvPr>
        </p:nvGraphicFramePr>
        <p:xfrm>
          <a:off x="2517058" y="1297858"/>
          <a:ext cx="7013677" cy="4486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676FC39-3E25-7335-1EFD-1CF58362B9AC}"/>
              </a:ext>
            </a:extLst>
          </p:cNvPr>
          <p:cNvSpPr txBox="1"/>
          <p:nvPr/>
        </p:nvSpPr>
        <p:spPr>
          <a:xfrm>
            <a:off x="210739" y="2623774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att owns all self-service functions (current customer) including CIA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13A28D-FF5E-A8FC-3B96-33F59B28AD66}"/>
              </a:ext>
            </a:extLst>
          </p:cNvPr>
          <p:cNvSpPr txBox="1"/>
          <p:nvPr/>
        </p:nvSpPr>
        <p:spPr>
          <a:xfrm>
            <a:off x="210738" y="3788033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lliot owns end to end CIAM Program in partnership with Technology &amp; Secur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00EFC7-3039-76E5-6E88-994A2363B453}"/>
              </a:ext>
            </a:extLst>
          </p:cNvPr>
          <p:cNvSpPr txBox="1"/>
          <p:nvPr/>
        </p:nvSpPr>
        <p:spPr>
          <a:xfrm>
            <a:off x="7924800" y="3799659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ichard owns end to end digital analytics for Eric’s or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CB444D-2B0C-9C50-BB92-44E6CB503FFB}"/>
              </a:ext>
            </a:extLst>
          </p:cNvPr>
          <p:cNvSpPr txBox="1"/>
          <p:nvPr/>
        </p:nvSpPr>
        <p:spPr>
          <a:xfrm>
            <a:off x="8568158" y="5061736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raveen manages analytics for all self-service functions for Matt’s or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35319C-1CDD-AD3C-C0ED-2E50845B02AE}"/>
              </a:ext>
            </a:extLst>
          </p:cNvPr>
          <p:cNvSpPr txBox="1"/>
          <p:nvPr/>
        </p:nvSpPr>
        <p:spPr>
          <a:xfrm>
            <a:off x="7924799" y="2413389"/>
            <a:ext cx="35002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 AI&amp; Analytics org manages AI initiatives and end to end digital analytics for Eric’s org including Sales and Self-ser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A8CDFB-710A-EC31-F7D6-E28BACEF0857}"/>
              </a:ext>
            </a:extLst>
          </p:cNvPr>
          <p:cNvSpPr txBox="1"/>
          <p:nvPr/>
        </p:nvSpPr>
        <p:spPr>
          <a:xfrm>
            <a:off x="210738" y="1447131"/>
            <a:ext cx="45375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ric owns all digital asserts for cox communications for residential and commercial business</a:t>
            </a:r>
          </a:p>
        </p:txBody>
      </p:sp>
    </p:spTree>
    <p:extLst>
      <p:ext uri="{BB962C8B-B14F-4D97-AF65-F5344CB8AC3E}">
        <p14:creationId xmlns:p14="http://schemas.microsoft.com/office/powerpoint/2010/main" val="1715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936E25A55AEF49B0C01BECA499E9BE" ma:contentTypeVersion="14" ma:contentTypeDescription="Create a new document." ma:contentTypeScope="" ma:versionID="0e113c88d36e04fafcd3eda7f8369de2">
  <xsd:schema xmlns:xsd="http://www.w3.org/2001/XMLSchema" xmlns:xs="http://www.w3.org/2001/XMLSchema" xmlns:p="http://schemas.microsoft.com/office/2006/metadata/properties" xmlns:ns1="http://schemas.microsoft.com/sharepoint/v3" xmlns:ns2="fcf4c635-b09a-4f47-933d-dd14d1cf7fb1" xmlns:ns3="10132858-e5c3-4739-bf1a-2d90cdf0e8b2" targetNamespace="http://schemas.microsoft.com/office/2006/metadata/properties" ma:root="true" ma:fieldsID="bd586832b931af1b8ecb4da45d1e5f7e" ns1:_="" ns2:_="" ns3:_="">
    <xsd:import namespace="http://schemas.microsoft.com/sharepoint/v3"/>
    <xsd:import namespace="fcf4c635-b09a-4f47-933d-dd14d1cf7fb1"/>
    <xsd:import namespace="10132858-e5c3-4739-bf1a-2d90cdf0e8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Document_x0020_Description" minOccurs="0"/>
                <xsd:element ref="ns1:_ip_UnifiedCompliancePolicyProperties" minOccurs="0"/>
                <xsd:element ref="ns1:_ip_UnifiedCompliancePolicyUIAction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4c635-b09a-4f47-933d-dd14d1cf7fb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32858-e5c3-4739-bf1a-2d90cdf0e8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Document_x0020_Description" ma:index="12" nillable="true" ma:displayName="Document Description" ma:default="" ma:description="describe document" ma:format="Dropdown" ma:internalName="Document_x0020_Description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Description xmlns="10132858-e5c3-4739-bf1a-2d90cdf0e8b2" xsi:nil="true"/>
    <_ip_UnifiedCompliancePolicyUIAction xmlns="http://schemas.microsoft.com/sharepoint/v3" xsi:nil="true"/>
    <_ip_UnifiedCompliancePolicyProperties xmlns="http://schemas.microsoft.com/sharepoint/v3" xsi:nil="true"/>
    <SharedWithUsers xmlns="fcf4c635-b09a-4f47-933d-dd14d1cf7fb1">
      <UserInfo>
        <DisplayName>Haddad, Dana (CCI-Atlanta)</DisplayName>
        <AccountId>334</AccountId>
        <AccountType/>
      </UserInfo>
      <UserInfo>
        <DisplayName>Patel, Adarsh (CCI-Atlanta)</DisplayName>
        <AccountId>13</AccountId>
        <AccountType/>
      </UserInfo>
      <UserInfo>
        <DisplayName>Fakhraee, Farrah (CCI-Atlanta)</DisplayName>
        <AccountId>95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795C0-AACF-40B7-B58F-45ADE7DF583F}">
  <ds:schemaRefs>
    <ds:schemaRef ds:uri="10132858-e5c3-4739-bf1a-2d90cdf0e8b2"/>
    <ds:schemaRef ds:uri="fcf4c635-b09a-4f47-933d-dd14d1cf7fb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BC13AF2-E39A-4FD2-B967-9FAE27A81BE6}">
  <ds:schemaRefs>
    <ds:schemaRef ds:uri="fcf4c635-b09a-4f47-933d-dd14d1cf7fb1"/>
    <ds:schemaRef ds:uri="http://www.w3.org/XML/1998/namespace"/>
    <ds:schemaRef ds:uri="http://schemas.microsoft.com/office/2006/documentManagement/types"/>
    <ds:schemaRef ds:uri="10132858-e5c3-4739-bf1a-2d90cdf0e8b2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545</TotalTime>
  <Words>609</Words>
  <Application>Microsoft Office PowerPoint</Application>
  <PresentationFormat>Widescreen</PresentationFormat>
  <Paragraphs>96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Proxima Nova</vt:lpstr>
      <vt:lpstr>Proxima Nova Black</vt:lpstr>
      <vt:lpstr>Proxima Nova Light</vt:lpstr>
      <vt:lpstr>Segoe UI</vt:lpstr>
      <vt:lpstr>Cox Communications 2019 Template (16x9)</vt:lpstr>
      <vt:lpstr>2_Cox Communications 2019 Template (16x9)</vt:lpstr>
      <vt:lpstr>think-cell Slide</vt:lpstr>
      <vt:lpstr>COX Operational Reporting Updates</vt:lpstr>
      <vt:lpstr>Status Summary – WO 23rd Sept: CIAM Program</vt:lpstr>
      <vt:lpstr>Status Summary – WO 23rd Sept: Commercial Dashboard</vt:lpstr>
      <vt:lpstr>Status Summary – WO 23rd Sept: Health Scorecard</vt:lpstr>
      <vt:lpstr>PowerPoint Presentation</vt:lpstr>
      <vt:lpstr>CIAM - Functions, Initiatives and Metrics</vt:lpstr>
      <vt:lpstr>Projects in Pipeline</vt:lpstr>
      <vt:lpstr>Internal Or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Shreenath KS</cp:lastModifiedBy>
  <cp:revision>127</cp:revision>
  <cp:lastPrinted>2023-03-15T15:20:58Z</cp:lastPrinted>
  <dcterms:created xsi:type="dcterms:W3CDTF">2016-12-14T14:35:04Z</dcterms:created>
  <dcterms:modified xsi:type="dcterms:W3CDTF">2024-09-27T14:5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936E25A55AEF49B0C01BECA499E9BE</vt:lpwstr>
  </property>
</Properties>
</file>